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1" r:id="rId5"/>
  </p:sldMasterIdLst>
  <p:notesMasterIdLst>
    <p:notesMasterId r:id="rId13"/>
  </p:notesMasterIdLst>
  <p:sldIdLst>
    <p:sldId id="256" r:id="rId6"/>
    <p:sldId id="270" r:id="rId7"/>
    <p:sldId id="265" r:id="rId8"/>
    <p:sldId id="269" r:id="rId9"/>
    <p:sldId id="262" r:id="rId10"/>
    <p:sldId id="263" r:id="rId11"/>
    <p:sldId id="264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8C55F3-38B2-4A49-B553-5815BF53EE9E}" v="44" dt="2023-10-17T08:25:21.635"/>
    <p1510:client id="{65F9939E-2942-4124-98F3-741B29AB1805}" v="62" dt="2023-10-16T20:53:30.221"/>
    <p1510:client id="{B06D030D-9AF5-424D-90B0-79F35BDF1235}" v="1" dt="2023-10-17T08:30:50.2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ximilian Stiegemann" userId="S::maximilian.stiegemann@tuinvest.de::cf8c6b57-79df-4148-8241-fafc268c5ca5" providerId="AD" clId="Web-{65F9939E-2942-4124-98F3-741B29AB1805}"/>
    <pc:docChg chg="modSld">
      <pc:chgData name="Maximilian Stiegemann" userId="S::maximilian.stiegemann@tuinvest.de::cf8c6b57-79df-4148-8241-fafc268c5ca5" providerId="AD" clId="Web-{65F9939E-2942-4124-98F3-741B29AB1805}" dt="2023-10-16T20:53:30.221" v="61" actId="1076"/>
      <pc:docMkLst>
        <pc:docMk/>
      </pc:docMkLst>
      <pc:sldChg chg="modSp">
        <pc:chgData name="Maximilian Stiegemann" userId="S::maximilian.stiegemann@tuinvest.de::cf8c6b57-79df-4148-8241-fafc268c5ca5" providerId="AD" clId="Web-{65F9939E-2942-4124-98F3-741B29AB1805}" dt="2023-10-16T20:49:16.321" v="1" actId="1076"/>
        <pc:sldMkLst>
          <pc:docMk/>
          <pc:sldMk cId="2357368597" sldId="256"/>
        </pc:sldMkLst>
        <pc:spChg chg="mod">
          <ac:chgData name="Maximilian Stiegemann" userId="S::maximilian.stiegemann@tuinvest.de::cf8c6b57-79df-4148-8241-fafc268c5ca5" providerId="AD" clId="Web-{65F9939E-2942-4124-98F3-741B29AB1805}" dt="2023-10-16T20:49:16.321" v="1" actId="1076"/>
          <ac:spMkLst>
            <pc:docMk/>
            <pc:sldMk cId="2357368597" sldId="256"/>
            <ac:spMk id="3" creationId="{2357538A-96F6-BECF-6104-98D3CD9D8ECA}"/>
          </ac:spMkLst>
        </pc:spChg>
      </pc:sldChg>
      <pc:sldChg chg="modSp">
        <pc:chgData name="Maximilian Stiegemann" userId="S::maximilian.stiegemann@tuinvest.de::cf8c6b57-79df-4148-8241-fafc268c5ca5" providerId="AD" clId="Web-{65F9939E-2942-4124-98F3-741B29AB1805}" dt="2023-10-16T20:53:30.221" v="61" actId="1076"/>
        <pc:sldMkLst>
          <pc:docMk/>
          <pc:sldMk cId="2588530484" sldId="265"/>
        </pc:sldMkLst>
        <pc:spChg chg="mod">
          <ac:chgData name="Maximilian Stiegemann" userId="S::maximilian.stiegemann@tuinvest.de::cf8c6b57-79df-4148-8241-fafc268c5ca5" providerId="AD" clId="Web-{65F9939E-2942-4124-98F3-741B29AB1805}" dt="2023-10-16T20:51:19.513" v="19" actId="1076"/>
          <ac:spMkLst>
            <pc:docMk/>
            <pc:sldMk cId="2588530484" sldId="265"/>
            <ac:spMk id="46" creationId="{FA0EF444-7485-86E5-D522-40766DEBA915}"/>
          </ac:spMkLst>
        </pc:spChg>
        <pc:picChg chg="mod">
          <ac:chgData name="Maximilian Stiegemann" userId="S::maximilian.stiegemann@tuinvest.de::cf8c6b57-79df-4148-8241-fafc268c5ca5" providerId="AD" clId="Web-{65F9939E-2942-4124-98F3-741B29AB1805}" dt="2023-10-16T20:53:19.158" v="55" actId="1076"/>
          <ac:picMkLst>
            <pc:docMk/>
            <pc:sldMk cId="2588530484" sldId="265"/>
            <ac:picMk id="2" creationId="{0CEF422E-8D03-4563-21F7-B2AE29425579}"/>
          </ac:picMkLst>
        </pc:picChg>
        <pc:picChg chg="mod">
          <ac:chgData name="Maximilian Stiegemann" userId="S::maximilian.stiegemann@tuinvest.de::cf8c6b57-79df-4148-8241-fafc268c5ca5" providerId="AD" clId="Web-{65F9939E-2942-4124-98F3-741B29AB1805}" dt="2023-10-16T20:53:20.658" v="56" actId="1076"/>
          <ac:picMkLst>
            <pc:docMk/>
            <pc:sldMk cId="2588530484" sldId="265"/>
            <ac:picMk id="3" creationId="{9C9DC0ED-AA23-87B4-D322-CD657FC9DF37}"/>
          </ac:picMkLst>
        </pc:picChg>
        <pc:picChg chg="mod modCrop">
          <ac:chgData name="Maximilian Stiegemann" userId="S::maximilian.stiegemann@tuinvest.de::cf8c6b57-79df-4148-8241-fafc268c5ca5" providerId="AD" clId="Web-{65F9939E-2942-4124-98F3-741B29AB1805}" dt="2023-10-16T20:53:24.752" v="58" actId="1076"/>
          <ac:picMkLst>
            <pc:docMk/>
            <pc:sldMk cId="2588530484" sldId="265"/>
            <ac:picMk id="5" creationId="{7433CABF-FB95-1B5E-FABB-B54D53C27EDB}"/>
          </ac:picMkLst>
        </pc:picChg>
        <pc:picChg chg="mod modCrop">
          <ac:chgData name="Maximilian Stiegemann" userId="S::maximilian.stiegemann@tuinvest.de::cf8c6b57-79df-4148-8241-fafc268c5ca5" providerId="AD" clId="Web-{65F9939E-2942-4124-98F3-741B29AB1805}" dt="2023-10-16T20:53:04.361" v="50" actId="1076"/>
          <ac:picMkLst>
            <pc:docMk/>
            <pc:sldMk cId="2588530484" sldId="265"/>
            <ac:picMk id="8" creationId="{DCF573CA-9A8C-9A57-9BC5-4B041363044E}"/>
          </ac:picMkLst>
        </pc:picChg>
        <pc:picChg chg="mod">
          <ac:chgData name="Maximilian Stiegemann" userId="S::maximilian.stiegemann@tuinvest.de::cf8c6b57-79df-4148-8241-fafc268c5ca5" providerId="AD" clId="Web-{65F9939E-2942-4124-98F3-741B29AB1805}" dt="2023-10-16T20:53:08.204" v="52" actId="1076"/>
          <ac:picMkLst>
            <pc:docMk/>
            <pc:sldMk cId="2588530484" sldId="265"/>
            <ac:picMk id="9" creationId="{4C9017BE-3EA4-926C-9588-0CF0E936BDC8}"/>
          </ac:picMkLst>
        </pc:picChg>
        <pc:picChg chg="mod">
          <ac:chgData name="Maximilian Stiegemann" userId="S::maximilian.stiegemann@tuinvest.de::cf8c6b57-79df-4148-8241-fafc268c5ca5" providerId="AD" clId="Web-{65F9939E-2942-4124-98F3-741B29AB1805}" dt="2023-10-16T20:53:30.221" v="61" actId="1076"/>
          <ac:picMkLst>
            <pc:docMk/>
            <pc:sldMk cId="2588530484" sldId="265"/>
            <ac:picMk id="10" creationId="{D7CB4BE4-6FC4-37F1-2B51-09E94FDBE332}"/>
          </ac:picMkLst>
        </pc:picChg>
        <pc:picChg chg="mod">
          <ac:chgData name="Maximilian Stiegemann" userId="S::maximilian.stiegemann@tuinvest.de::cf8c6b57-79df-4148-8241-fafc268c5ca5" providerId="AD" clId="Web-{65F9939E-2942-4124-98F3-741B29AB1805}" dt="2023-10-16T20:53:17.017" v="54" actId="1076"/>
          <ac:picMkLst>
            <pc:docMk/>
            <pc:sldMk cId="2588530484" sldId="265"/>
            <ac:picMk id="12" creationId="{40FE3CCD-5FB7-5A06-93EA-DDD111E283EB}"/>
          </ac:picMkLst>
        </pc:picChg>
        <pc:picChg chg="mod">
          <ac:chgData name="Maximilian Stiegemann" userId="S::maximilian.stiegemann@tuinvest.de::cf8c6b57-79df-4148-8241-fafc268c5ca5" providerId="AD" clId="Web-{65F9939E-2942-4124-98F3-741B29AB1805}" dt="2023-10-16T20:53:06.111" v="51" actId="1076"/>
          <ac:picMkLst>
            <pc:docMk/>
            <pc:sldMk cId="2588530484" sldId="265"/>
            <ac:picMk id="14" creationId="{ACA399F4-847D-6897-56E1-63FD84ED245A}"/>
          </ac:picMkLst>
        </pc:picChg>
        <pc:picChg chg="mod modCrop">
          <ac:chgData name="Maximilian Stiegemann" userId="S::maximilian.stiegemann@tuinvest.de::cf8c6b57-79df-4148-8241-fafc268c5ca5" providerId="AD" clId="Web-{65F9939E-2942-4124-98F3-741B29AB1805}" dt="2023-10-16T20:51:19.513" v="20" actId="1076"/>
          <ac:picMkLst>
            <pc:docMk/>
            <pc:sldMk cId="2588530484" sldId="265"/>
            <ac:picMk id="18" creationId="{8EAAC67F-F616-E5A6-8597-0CDF17AD1BFC}"/>
          </ac:picMkLst>
        </pc:picChg>
        <pc:picChg chg="mod">
          <ac:chgData name="Maximilian Stiegemann" userId="S::maximilian.stiegemann@tuinvest.de::cf8c6b57-79df-4148-8241-fafc268c5ca5" providerId="AD" clId="Web-{65F9939E-2942-4124-98F3-741B29AB1805}" dt="2023-10-16T20:53:09.876" v="53" actId="1076"/>
          <ac:picMkLst>
            <pc:docMk/>
            <pc:sldMk cId="2588530484" sldId="265"/>
            <ac:picMk id="45" creationId="{571C3156-E1E6-28B0-791B-6039EFFAEA61}"/>
          </ac:picMkLst>
        </pc:picChg>
        <pc:picChg chg="mod">
          <ac:chgData name="Maximilian Stiegemann" userId="S::maximilian.stiegemann@tuinvest.de::cf8c6b57-79df-4148-8241-fafc268c5ca5" providerId="AD" clId="Web-{65F9939E-2942-4124-98F3-741B29AB1805}" dt="2023-10-16T20:53:28.440" v="60" actId="1076"/>
          <ac:picMkLst>
            <pc:docMk/>
            <pc:sldMk cId="2588530484" sldId="265"/>
            <ac:picMk id="47" creationId="{718858B0-EBD2-7B1A-9D32-E8D0E9C02712}"/>
          </ac:picMkLst>
        </pc:picChg>
        <pc:picChg chg="mod">
          <ac:chgData name="Maximilian Stiegemann" userId="S::maximilian.stiegemann@tuinvest.de::cf8c6b57-79df-4148-8241-fafc268c5ca5" providerId="AD" clId="Web-{65F9939E-2942-4124-98F3-741B29AB1805}" dt="2023-10-16T20:53:26.924" v="59" actId="1076"/>
          <ac:picMkLst>
            <pc:docMk/>
            <pc:sldMk cId="2588530484" sldId="265"/>
            <ac:picMk id="52" creationId="{9D0D0884-DF76-B8D0-C5D4-475DFC806F33}"/>
          </ac:picMkLst>
        </pc:picChg>
        <pc:picChg chg="mod modCrop">
          <ac:chgData name="Maximilian Stiegemann" userId="S::maximilian.stiegemann@tuinvest.de::cf8c6b57-79df-4148-8241-fafc268c5ca5" providerId="AD" clId="Web-{65F9939E-2942-4124-98F3-741B29AB1805}" dt="2023-10-16T20:51:33.982" v="32" actId="1076"/>
          <ac:picMkLst>
            <pc:docMk/>
            <pc:sldMk cId="2588530484" sldId="265"/>
            <ac:picMk id="1028" creationId="{6DCDB966-B7BC-AEAF-3756-1052659E7C47}"/>
          </ac:picMkLst>
        </pc:picChg>
        <pc:picChg chg="mod">
          <ac:chgData name="Maximilian Stiegemann" userId="S::maximilian.stiegemann@tuinvest.de::cf8c6b57-79df-4148-8241-fafc268c5ca5" providerId="AD" clId="Web-{65F9939E-2942-4124-98F3-741B29AB1805}" dt="2023-10-16T20:53:22.580" v="57" actId="1076"/>
          <ac:picMkLst>
            <pc:docMk/>
            <pc:sldMk cId="2588530484" sldId="265"/>
            <ac:picMk id="1034" creationId="{30A1B01C-20D3-3F92-37B1-6D9AC76A2359}"/>
          </ac:picMkLst>
        </pc:picChg>
      </pc:sldChg>
    </pc:docChg>
  </pc:docChgLst>
  <pc:docChgLst>
    <pc:chgData name="Florian Radlmeier" userId="S::florian.radlmeier@tuinvest.de::7a6b36fc-c378-4d1c-8bbd-49b2d1c8e08e" providerId="AD" clId="Web-{B06D030D-9AF5-424D-90B0-79F35BDF1235}"/>
    <pc:docChg chg="delSld">
      <pc:chgData name="Florian Radlmeier" userId="S::florian.radlmeier@tuinvest.de::7a6b36fc-c378-4d1c-8bbd-49b2d1c8e08e" providerId="AD" clId="Web-{B06D030D-9AF5-424D-90B0-79F35BDF1235}" dt="2023-10-17T08:30:50.267" v="0"/>
      <pc:docMkLst>
        <pc:docMk/>
      </pc:docMkLst>
      <pc:sldChg chg="del">
        <pc:chgData name="Florian Radlmeier" userId="S::florian.radlmeier@tuinvest.de::7a6b36fc-c378-4d1c-8bbd-49b2d1c8e08e" providerId="AD" clId="Web-{B06D030D-9AF5-424D-90B0-79F35BDF1235}" dt="2023-10-17T08:30:50.267" v="0"/>
        <pc:sldMkLst>
          <pc:docMk/>
          <pc:sldMk cId="1289341678" sldId="271"/>
        </pc:sldMkLst>
      </pc:sldChg>
    </pc:docChg>
  </pc:docChgLst>
  <pc:docChgLst>
    <pc:chgData name="Florian Radlmeier" userId="7a6b36fc-c378-4d1c-8bbd-49b2d1c8e08e" providerId="ADAL" clId="{658C55F3-38B2-4A49-B553-5815BF53EE9E}"/>
    <pc:docChg chg="undo custSel addSld delSld modSld sldOrd">
      <pc:chgData name="Florian Radlmeier" userId="7a6b36fc-c378-4d1c-8bbd-49b2d1c8e08e" providerId="ADAL" clId="{658C55F3-38B2-4A49-B553-5815BF53EE9E}" dt="2023-10-17T08:25:21.635" v="46" actId="1076"/>
      <pc:docMkLst>
        <pc:docMk/>
      </pc:docMkLst>
      <pc:sldChg chg="addSp delSp modSp mod modClrScheme chgLayout">
        <pc:chgData name="Florian Radlmeier" userId="7a6b36fc-c378-4d1c-8bbd-49b2d1c8e08e" providerId="ADAL" clId="{658C55F3-38B2-4A49-B553-5815BF53EE9E}" dt="2023-10-17T08:23:36.307" v="6" actId="700"/>
        <pc:sldMkLst>
          <pc:docMk/>
          <pc:sldMk cId="1917205480" sldId="264"/>
        </pc:sldMkLst>
        <pc:spChg chg="add del mod ord">
          <ac:chgData name="Florian Radlmeier" userId="7a6b36fc-c378-4d1c-8bbd-49b2d1c8e08e" providerId="ADAL" clId="{658C55F3-38B2-4A49-B553-5815BF53EE9E}" dt="2023-10-17T08:23:36.307" v="6" actId="700"/>
          <ac:spMkLst>
            <pc:docMk/>
            <pc:sldMk cId="1917205480" sldId="264"/>
            <ac:spMk id="2" creationId="{82EA37C1-5369-55EA-CDEA-AD9EC23375D8}"/>
          </ac:spMkLst>
        </pc:spChg>
        <pc:spChg chg="mod ord">
          <ac:chgData name="Florian Radlmeier" userId="7a6b36fc-c378-4d1c-8bbd-49b2d1c8e08e" providerId="ADAL" clId="{658C55F3-38B2-4A49-B553-5815BF53EE9E}" dt="2023-10-17T08:23:36.307" v="6" actId="700"/>
          <ac:spMkLst>
            <pc:docMk/>
            <pc:sldMk cId="1917205480" sldId="264"/>
            <ac:spMk id="5" creationId="{ADE8F76A-7618-D96A-8B71-85CBCCF0348E}"/>
          </ac:spMkLst>
        </pc:spChg>
        <pc:spChg chg="add del mod ord">
          <ac:chgData name="Florian Radlmeier" userId="7a6b36fc-c378-4d1c-8bbd-49b2d1c8e08e" providerId="ADAL" clId="{658C55F3-38B2-4A49-B553-5815BF53EE9E}" dt="2023-10-17T08:23:36.307" v="6" actId="700"/>
          <ac:spMkLst>
            <pc:docMk/>
            <pc:sldMk cId="1917205480" sldId="264"/>
            <ac:spMk id="6" creationId="{D5D39B53-777C-141A-2A26-90A6139861BB}"/>
          </ac:spMkLst>
        </pc:spChg>
      </pc:sldChg>
      <pc:sldChg chg="addSp modSp new mod">
        <pc:chgData name="Florian Radlmeier" userId="7a6b36fc-c378-4d1c-8bbd-49b2d1c8e08e" providerId="ADAL" clId="{658C55F3-38B2-4A49-B553-5815BF53EE9E}" dt="2023-10-17T08:25:21.635" v="46" actId="1076"/>
        <pc:sldMkLst>
          <pc:docMk/>
          <pc:sldMk cId="1289341678" sldId="271"/>
        </pc:sldMkLst>
        <pc:spChg chg="mod">
          <ac:chgData name="Florian Radlmeier" userId="7a6b36fc-c378-4d1c-8bbd-49b2d1c8e08e" providerId="ADAL" clId="{658C55F3-38B2-4A49-B553-5815BF53EE9E}" dt="2023-10-17T08:24:20.313" v="25" actId="20577"/>
          <ac:spMkLst>
            <pc:docMk/>
            <pc:sldMk cId="1289341678" sldId="271"/>
            <ac:spMk id="2" creationId="{A8D775E3-62C4-CF21-6471-AD49BEF03A37}"/>
          </ac:spMkLst>
        </pc:spChg>
        <pc:spChg chg="add mod">
          <ac:chgData name="Florian Radlmeier" userId="7a6b36fc-c378-4d1c-8bbd-49b2d1c8e08e" providerId="ADAL" clId="{658C55F3-38B2-4A49-B553-5815BF53EE9E}" dt="2023-10-17T08:25:21.635" v="46" actId="1076"/>
          <ac:spMkLst>
            <pc:docMk/>
            <pc:sldMk cId="1289341678" sldId="271"/>
            <ac:spMk id="3" creationId="{F71E9854-B1EF-8B65-BF83-1C41A9413D3C}"/>
          </ac:spMkLst>
        </pc:spChg>
      </pc:sldChg>
      <pc:sldChg chg="addSp delSp modSp add del mod ord">
        <pc:chgData name="Florian Radlmeier" userId="7a6b36fc-c378-4d1c-8bbd-49b2d1c8e08e" providerId="ADAL" clId="{658C55F3-38B2-4A49-B553-5815BF53EE9E}" dt="2023-10-17T08:23:09.502" v="4" actId="2696"/>
        <pc:sldMkLst>
          <pc:docMk/>
          <pc:sldMk cId="3186750069" sldId="271"/>
        </pc:sldMkLst>
        <pc:spChg chg="del">
          <ac:chgData name="Florian Radlmeier" userId="7a6b36fc-c378-4d1c-8bbd-49b2d1c8e08e" providerId="ADAL" clId="{658C55F3-38B2-4A49-B553-5815BF53EE9E}" dt="2023-10-17T08:23:01.346" v="3" actId="478"/>
          <ac:spMkLst>
            <pc:docMk/>
            <pc:sldMk cId="3186750069" sldId="271"/>
            <ac:spMk id="5" creationId="{ADE8F76A-7618-D96A-8B71-85CBCCF0348E}"/>
          </ac:spMkLst>
        </pc:spChg>
        <pc:spChg chg="add mod">
          <ac:chgData name="Florian Radlmeier" userId="7a6b36fc-c378-4d1c-8bbd-49b2d1c8e08e" providerId="ADAL" clId="{658C55F3-38B2-4A49-B553-5815BF53EE9E}" dt="2023-10-17T08:23:01.346" v="3" actId="478"/>
          <ac:spMkLst>
            <pc:docMk/>
            <pc:sldMk cId="3186750069" sldId="271"/>
            <ac:spMk id="6" creationId="{ACB7C7E3-5364-921F-7C51-847BB8C49E53}"/>
          </ac:spMkLst>
        </pc:spChg>
      </pc:sldChg>
      <pc:sldChg chg="new del">
        <pc:chgData name="Florian Radlmeier" userId="7a6b36fc-c378-4d1c-8bbd-49b2d1c8e08e" providerId="ADAL" clId="{658C55F3-38B2-4A49-B553-5815BF53EE9E}" dt="2023-10-17T08:23:45.124" v="8" actId="2696"/>
        <pc:sldMkLst>
          <pc:docMk/>
          <pc:sldMk cId="3886632389" sldId="27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522602-28DB-1A48-B10C-3DA882DD48FC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C37F71-E452-E54E-A2BA-15E54944B4F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1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C37F71-E452-E54E-A2BA-15E54944B4F8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0812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75BA05-3EE8-B0BA-7144-2A509B2E32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A203013-2A8B-B8EF-4467-B072CBDD32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2F423D-895C-2DA4-61D4-51C9F9BFC0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F427096-53CD-2D6B-E454-92A5BEA76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7F9679-9600-8BB4-4938-7FBABA9F3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52962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98B58-5702-0070-1B25-52A66A546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B3FCB54-F2E7-1E8F-CA26-F1EDE310B4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7DA5865-128F-4857-4D30-24CCD4467C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87B060-1349-AA28-D048-D730B2D78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F46CEBD-68FC-176D-1633-C93CFD219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87A7AC-3587-CCC0-858B-DA01F9A97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705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438CF5-903F-D062-565E-A24322CE2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C1209CE-4DED-819F-11A1-990A2DDF05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807353-77DC-2239-56B7-5FADA3A23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31D2C2-D845-3413-90A1-1D6AEE9F2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66772A-E54C-DEC0-3977-0DDA2DF2E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3004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A33B16C-475F-BF6B-9732-97D061E208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1F9CF2C-9642-4DCD-8296-38DA322332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C589553-EAAC-A70C-553D-28DE1096C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688EAC5-72BC-CDA2-5517-E85146A99A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5D870-1F2F-5E22-5143-6E1C35DD4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39043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15556D-7540-2668-D606-BC6D2EE9DB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60C4C6B-38A8-5728-1DB0-4C95DA30D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0CF77E-9A86-E90D-127B-BAAB6DB3AE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2F9275-B2A2-C36E-69E2-CEC6371A3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1BB91E-8627-097B-3D17-84F1B4721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3704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9ABDC5-2AD7-6FCD-CF52-CB3D507FE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0E0131-5149-2AA6-B9E7-0135D883AF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689E77-F657-BB62-3D67-2B33AD6B3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D0580CE-95E9-9755-E9C6-2C118B915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1CFDF9-8DC2-74E9-0377-C1FBB8198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00884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4B1F-ADEF-0500-3412-D6D12DCC20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471518-5D63-4B51-7866-E0C01EA7B8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65CEBC-1125-D1F6-D599-69A4AB5F4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EC1655B-B7FB-EB5B-9E63-93802FABD6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D4F23E-2294-4502-D1D1-A7C33B29D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6131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53846E-06A2-B4FA-47FE-508A03D6D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B078CAC-7496-7CDF-ABFD-FD7E2D7E6C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E477A31-11A0-D9EF-899D-4349180835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01CD31D-1FE8-0048-C0A9-7BA90E100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D64D65A-A27C-5ECF-1170-24EA3AC88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578593C-D66B-463B-321F-64656775D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6508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8C554A-24F8-9721-82E3-2B39473E6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84A7DDB-8F68-A7DD-589D-CE5DC38ECB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BCAD6D4-41ED-E27E-00F2-8BD91DE9DF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BABE142-1E7A-2B6D-448F-2C7CF528C9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2E141D9-0586-F3AC-15C6-5DAC366AB2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D1DB54D-CE22-970A-09CC-6E9EDB6275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F3BD127-FDE9-9506-CDAD-E69D265CB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CEA20A2-7A39-424C-9A86-5459EC0AE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8123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E5E42C-AF27-EBB3-C06E-598D2662C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6F60F7B-9C30-86CF-2BB0-D9B3CFBF3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43E357-5265-EE3E-1446-90F75BA63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A6C7F8-341A-8E4A-B172-8B896D790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60908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78684A7-5828-BEF8-5BF0-F74963760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64E205-C1E2-6869-2A6B-41006F19F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B51014-C1D8-B791-4FB4-B3094924D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0050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90DB4E-B64B-CB97-A46B-85182662B3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C6B951-7107-61A7-56A7-F79DF35815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4A3771-5B20-C7ED-E348-E399925234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C714A60-65CD-289F-A52C-99A41D39FE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C3018EF-D2EA-7ECA-88C2-39D8B397B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97434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C3DA28-4E48-2236-5C52-EED6BD14C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6F6B16A-EC9E-546C-A72F-F01B7EFD6D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D2A66CE-6973-C99E-2E15-007361BF03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E5DC1D1-30BD-102D-63F4-1C27871A7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F5F425-EA60-F89E-916A-8A9D39E60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28F134-10AD-9454-64AF-352FA3AD1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74795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CDEE6E-509C-FDE3-1C51-421BE1973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71EC7E9-BFBA-7266-58CD-50B7D36699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352AF5-E10F-E2E8-5C33-9163F764BA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B7B9546-53DF-2DD1-8945-E3108E2D91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5221DB-839A-7004-91DF-1EC97B20B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6C1CD30-109E-D692-BE38-370774268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5650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23EDBF-9AC5-06AE-9E5C-FE305F844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C6E5B26-80FA-F9B8-EE9A-0E3C205B30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5F908E1-5DBD-E799-1D68-135CD392B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CFD144-A00B-EB9E-5E2C-CD1DA89B60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192FE6-C6E7-8332-7BE9-D7F3AB5C2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64891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DD4C33C-D674-3824-3501-BA9DC142A7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1CFD265-7050-7D62-02B5-43CBE4F50C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1443DE-D228-F284-0030-3CBD6CB61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2446A9B-C7F1-BD41-482E-C4162FE12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C766AA-37A6-C04F-F31A-F1EC05565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6103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A9DC31-D373-5115-B683-9B513A591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E3D4A7-D24C-1F4B-632E-FCF1595C53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C6A0531-607A-6D91-F149-ACB212349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61C0F0F-30A3-2729-255F-20C95F6141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89A4200-A1D3-E069-7639-261AE173B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501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0C29DF-1D44-D437-392A-72E6B63DA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B0DFA36-47F9-9AB3-47AE-C37D462167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DE2313F-E3B9-CC74-F74D-A52C674CF6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48BE470-64D3-342B-6CDF-E7525DB9BB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579DA5E-1322-58C0-5D03-4BDC31869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7D7034-ED25-27C9-82B4-9D1BCACA4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81880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FED58E-F4DB-99F2-9A40-F8F1DF7EF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5337E9-64E2-25FE-BE5E-ED89DACE03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C943C36-DF2D-47A0-5B64-5487AECE30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102A33-06B4-349F-9945-1281AD5139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ABD8F99-5F0C-14B1-4E0E-481B3477C2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1F2AEFD-1DD1-7C97-B74D-BEA6BD2F5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27F8743-629C-E11C-ECCA-A90FEA5F4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50203C0-A67A-D1FA-50E4-E74F69301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91032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A2E9B3-2184-0759-E40E-0FF9447E4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8E9DE00-6D17-540F-6F4E-7B162E8373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131247-0E1C-993C-97AB-BA9036849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7FA770-D22C-4AC7-E369-ACCA09960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3531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61D97AE-0B81-D645-D1FE-C751344A0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94DF9A-B3DB-68D6-699D-563AA111E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96FD26-3463-59D1-CC8D-B1C489DC8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2575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DDF69C-B77C-D6C8-4431-BE0475F6D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3F9440F-612F-216B-456B-4D3688AB9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F4F6EC-9BB6-E7C6-140F-E5C1D6B56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2B611-0322-0FFC-133D-D9E3EA6C9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821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A9CF12-24A1-E799-CDBD-4E34FFE9F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9B5EED-B1E6-9342-D89D-F2ACE7D34C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992D61E-13DF-D29E-A577-A713AC413A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065FA40-50FC-4378-0F8C-4EF8C3099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3F5A570-413F-A544-F098-BF25E75137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81B26BB-422A-A6D4-8D58-5E3516EBB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66799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E39700-1F05-DF87-DBA3-473E04128E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42230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4" imgH="405" progId="TCLayout.ActiveDocument.1">
                  <p:embed/>
                </p:oleObj>
              </mc:Choice>
              <mc:Fallback>
                <p:oleObj name="think-cell Slide" r:id="rId15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39700-1F05-DF87-DBA3-473E04128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559F118-8394-B2E2-32D4-8B7E1C06A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30C3D9-1B8A-339D-4E06-A7695CD08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B51B30-66F5-397B-8377-94C58FE3AF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B75802-387B-9744-952C-D05BA0A4FF10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1A1EF3-945D-76A9-39B6-EBEE9DCD2E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B0E61-2206-5AC3-809E-7FCC6EEBF4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22A7F-FF45-CD45-8BC8-CC9348C790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600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CC4C8A-B7E6-B383-863F-B79B4D2399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97713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CC4C8A-B7E6-B383-863F-B79B4D2399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BB7A2BE-6F0B-6FCA-15FE-A851F2CE9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936EDD-D24E-39F1-D547-B36FEBDC40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498B31-0BF0-8E75-2E11-AE1815CC6F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7343CC-90E7-2F46-8C97-0B1740140287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8C9D75-9C38-8540-9B3D-97F9A42610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5FCDD6-ABEB-65B2-3AD2-9C95F68685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134AF1-E5CB-6C42-972C-1D902D7AE5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174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4.svg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image" Target="../media/image13.png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9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microsoft.com/office/2007/relationships/hdphoto" Target="../media/hdphoto2.wdp"/><Relationship Id="rId7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microsoft.com/office/2007/relationships/hdphoto" Target="../media/hdphoto3.wdp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73710E5A-E04B-0BF4-224D-029E35BBD698}"/>
              </a:ext>
            </a:extLst>
          </p:cNvPr>
          <p:cNvCxnSpPr/>
          <p:nvPr/>
        </p:nvCxnSpPr>
        <p:spPr>
          <a:xfrm>
            <a:off x="2974176" y="3400425"/>
            <a:ext cx="624363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hteck 2">
            <a:extLst>
              <a:ext uri="{FF2B5EF4-FFF2-40B4-BE49-F238E27FC236}">
                <a16:creationId xmlns:a16="http://schemas.microsoft.com/office/drawing/2014/main" id="{2357538A-96F6-BECF-6104-98D3CD9D8ECA}"/>
              </a:ext>
            </a:extLst>
          </p:cNvPr>
          <p:cNvSpPr/>
          <p:nvPr/>
        </p:nvSpPr>
        <p:spPr>
          <a:xfrm>
            <a:off x="2974176" y="2386873"/>
            <a:ext cx="6243636" cy="10319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>
                <a:solidFill>
                  <a:schemeClr val="tx1"/>
                </a:solidFill>
                <a:latin typeface="Atlas Typewriter Medium" panose="02000000000000000000"/>
              </a:rPr>
              <a:t>Providing </a:t>
            </a:r>
            <a:r>
              <a:rPr lang="de-DE" sz="2800" err="1">
                <a:solidFill>
                  <a:schemeClr val="tx1"/>
                </a:solidFill>
                <a:latin typeface="Atlas Typewriter Medium" panose="02000000000000000000"/>
              </a:rPr>
              <a:t>hands</a:t>
            </a:r>
            <a:r>
              <a:rPr lang="de-DE" sz="2800">
                <a:solidFill>
                  <a:schemeClr val="tx1"/>
                </a:solidFill>
                <a:latin typeface="Atlas Typewriter Medium" panose="02000000000000000000"/>
              </a:rPr>
              <a:t>-on </a:t>
            </a:r>
            <a:r>
              <a:rPr lang="de-DE" sz="2800" err="1">
                <a:solidFill>
                  <a:schemeClr val="tx1"/>
                </a:solidFill>
                <a:latin typeface="Atlas Typewriter Medium" panose="02000000000000000000"/>
              </a:rPr>
              <a:t>experience</a:t>
            </a:r>
            <a:br>
              <a:rPr lang="de-DE" sz="2800">
                <a:solidFill>
                  <a:schemeClr val="tx1"/>
                </a:solidFill>
                <a:latin typeface="Atlas Typewriter Medium" panose="02000000000000000000"/>
              </a:rPr>
            </a:br>
            <a:r>
              <a:rPr lang="de-DE" sz="2800">
                <a:solidFill>
                  <a:schemeClr val="tx1"/>
                </a:solidFill>
                <a:latin typeface="Atlas Typewriter Medium" panose="02000000000000000000"/>
              </a:rPr>
              <a:t>in </a:t>
            </a:r>
            <a:r>
              <a:rPr lang="de-DE" sz="2800" err="1">
                <a:solidFill>
                  <a:schemeClr val="tx1"/>
                </a:solidFill>
                <a:latin typeface="Atlas Typewriter Medium" panose="02000000000000000000"/>
              </a:rPr>
              <a:t>finance</a:t>
            </a:r>
            <a:r>
              <a:rPr lang="de-DE" sz="2800">
                <a:solidFill>
                  <a:schemeClr val="tx1"/>
                </a:solidFill>
                <a:latin typeface="Atlas Typewriter Medium" panose="02000000000000000000"/>
              </a:rPr>
              <a:t> </a:t>
            </a:r>
            <a:r>
              <a:rPr lang="de-DE" sz="2800" err="1">
                <a:solidFill>
                  <a:schemeClr val="tx1"/>
                </a:solidFill>
                <a:latin typeface="Atlas Typewriter Medium" panose="02000000000000000000"/>
              </a:rPr>
              <a:t>for</a:t>
            </a:r>
            <a:r>
              <a:rPr lang="de-DE" sz="2800">
                <a:solidFill>
                  <a:schemeClr val="tx1"/>
                </a:solidFill>
                <a:latin typeface="Atlas Typewriter Medium" panose="02000000000000000000"/>
              </a:rPr>
              <a:t> </a:t>
            </a:r>
            <a:r>
              <a:rPr lang="de-DE" sz="2800" err="1">
                <a:solidFill>
                  <a:schemeClr val="tx1"/>
                </a:solidFill>
                <a:latin typeface="Atlas Typewriter Medium" panose="02000000000000000000"/>
              </a:rPr>
              <a:t>students</a:t>
            </a:r>
            <a:endParaRPr lang="de-DE" sz="2800">
              <a:solidFill>
                <a:schemeClr val="tx1"/>
              </a:solidFill>
              <a:latin typeface="Atlas Typewriter Medium" panose="020000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23573685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3B152BBC-11A3-460D-E472-461DF1A7F014}"/>
              </a:ext>
            </a:extLst>
          </p:cNvPr>
          <p:cNvSpPr txBox="1">
            <a:spLocks/>
          </p:cNvSpPr>
          <p:nvPr/>
        </p:nvSpPr>
        <p:spPr>
          <a:xfrm>
            <a:off x="236847" y="3138141"/>
            <a:ext cx="3853317" cy="8207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3200">
                <a:latin typeface="Atlas Typewriter Medium" panose="02000000000000000000" pitchFamily="2" charset="77"/>
              </a:rPr>
              <a:t>WHAT WE OFFER</a:t>
            </a:r>
            <a:endParaRPr lang="en-GB" sz="3200">
              <a:latin typeface="Atlas Typewriter Medium" panose="02000000000000000000" pitchFamily="2" charset="77"/>
            </a:endParaRPr>
          </a:p>
        </p:txBody>
      </p:sp>
      <p:pic>
        <p:nvPicPr>
          <p:cNvPr id="34" name="Graphic 2" descr="Graduation cap">
            <a:extLst>
              <a:ext uri="{FF2B5EF4-FFF2-40B4-BE49-F238E27FC236}">
                <a16:creationId xmlns:a16="http://schemas.microsoft.com/office/drawing/2014/main" id="{C93230FE-9162-636D-9FA1-4C484B463CB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06063" y="1076276"/>
            <a:ext cx="914400" cy="914400"/>
          </a:xfrm>
          <a:prstGeom prst="rect">
            <a:avLst/>
          </a:prstGeom>
        </p:spPr>
      </p:pic>
      <p:pic>
        <p:nvPicPr>
          <p:cNvPr id="36" name="Graphic 8" descr="Rocket">
            <a:extLst>
              <a:ext uri="{FF2B5EF4-FFF2-40B4-BE49-F238E27FC236}">
                <a16:creationId xmlns:a16="http://schemas.microsoft.com/office/drawing/2014/main" id="{6B59F51F-7BB3-23FE-85A0-5FFA91C594E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0989" y="4652044"/>
            <a:ext cx="914400" cy="914400"/>
          </a:xfrm>
          <a:prstGeom prst="rect">
            <a:avLst/>
          </a:prstGeom>
        </p:spPr>
      </p:pic>
      <p:pic>
        <p:nvPicPr>
          <p:cNvPr id="37" name="Graphic 17" descr="Connections">
            <a:extLst>
              <a:ext uri="{FF2B5EF4-FFF2-40B4-BE49-F238E27FC236}">
                <a16:creationId xmlns:a16="http://schemas.microsoft.com/office/drawing/2014/main" id="{70B1C3B6-04A2-86EC-6089-D732C8E29F4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92268" y="4652044"/>
            <a:ext cx="914400" cy="914400"/>
          </a:xfrm>
          <a:prstGeom prst="rect">
            <a:avLst/>
          </a:prstGeom>
        </p:spPr>
      </p:pic>
      <p:sp>
        <p:nvSpPr>
          <p:cNvPr id="38" name="TextBox 22">
            <a:extLst>
              <a:ext uri="{FF2B5EF4-FFF2-40B4-BE49-F238E27FC236}">
                <a16:creationId xmlns:a16="http://schemas.microsoft.com/office/drawing/2014/main" id="{E1FF119D-FBE1-D072-4D32-92A924726BE3}"/>
              </a:ext>
            </a:extLst>
          </p:cNvPr>
          <p:cNvSpPr txBox="1"/>
          <p:nvPr/>
        </p:nvSpPr>
        <p:spPr>
          <a:xfrm>
            <a:off x="5041085" y="873101"/>
            <a:ext cx="244277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400" b="1">
                <a:latin typeface="Atlas Grotesk Light" pitchFamily="2" charset="77"/>
              </a:rPr>
              <a:t>Education</a:t>
            </a:r>
          </a:p>
          <a:p>
            <a:r>
              <a:rPr lang="en-US">
                <a:latin typeface="Atlas Grotesk Light" pitchFamily="2" charset="77"/>
              </a:rPr>
              <a:t>Expand your knowledge of finance and enhance your soft skills.</a:t>
            </a:r>
          </a:p>
        </p:txBody>
      </p:sp>
      <p:sp>
        <p:nvSpPr>
          <p:cNvPr id="39" name="TextBox 23">
            <a:extLst>
              <a:ext uri="{FF2B5EF4-FFF2-40B4-BE49-F238E27FC236}">
                <a16:creationId xmlns:a16="http://schemas.microsoft.com/office/drawing/2014/main" id="{9FC9770C-70F1-1631-21ED-1C3497502EB2}"/>
              </a:ext>
            </a:extLst>
          </p:cNvPr>
          <p:cNvSpPr txBox="1"/>
          <p:nvPr/>
        </p:nvSpPr>
        <p:spPr>
          <a:xfrm>
            <a:off x="9444488" y="873101"/>
            <a:ext cx="239247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de-AT" sz="2400" b="1">
                <a:latin typeface="Atlas Grotesk Light" pitchFamily="2" charset="77"/>
              </a:rPr>
              <a:t>Practice </a:t>
            </a:r>
            <a:endParaRPr lang="de-AT" sz="2400" b="1" kern="1200">
              <a:latin typeface="Atlas Grotesk Light" pitchFamily="2" charset="77"/>
            </a:endParaRPr>
          </a:p>
          <a:p>
            <a:r>
              <a:rPr lang="en-US">
                <a:latin typeface="Atlas Grotesk Light" pitchFamily="2" charset="77"/>
              </a:rPr>
              <a:t>Get experience in investing in stocks, no own money required</a:t>
            </a:r>
          </a:p>
        </p:txBody>
      </p:sp>
      <p:sp>
        <p:nvSpPr>
          <p:cNvPr id="40" name="TextBox 24">
            <a:extLst>
              <a:ext uri="{FF2B5EF4-FFF2-40B4-BE49-F238E27FC236}">
                <a16:creationId xmlns:a16="http://schemas.microsoft.com/office/drawing/2014/main" id="{DC62039A-A57A-FBCF-A2A8-20961FC4A4D0}"/>
              </a:ext>
            </a:extLst>
          </p:cNvPr>
          <p:cNvSpPr txBox="1"/>
          <p:nvPr/>
        </p:nvSpPr>
        <p:spPr>
          <a:xfrm>
            <a:off x="9444487" y="4462913"/>
            <a:ext cx="21501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400" b="1" kern="1200">
                <a:latin typeface="Atlas Grotesk Light" pitchFamily="2" charset="77"/>
              </a:rPr>
              <a:t>Network</a:t>
            </a:r>
            <a:r>
              <a:rPr lang="de-AT">
                <a:latin typeface="Atlas Grotesk Light" pitchFamily="2" charset="77"/>
              </a:rPr>
              <a:t> </a:t>
            </a:r>
          </a:p>
          <a:p>
            <a:r>
              <a:rPr lang="en-US">
                <a:latin typeface="Atlas Grotesk Light" pitchFamily="2" charset="77"/>
              </a:rPr>
              <a:t>Grow your network and connect with our industry-leading sponsors.</a:t>
            </a:r>
          </a:p>
        </p:txBody>
      </p:sp>
      <p:sp>
        <p:nvSpPr>
          <p:cNvPr id="41" name="TextBox 25">
            <a:extLst>
              <a:ext uri="{FF2B5EF4-FFF2-40B4-BE49-F238E27FC236}">
                <a16:creationId xmlns:a16="http://schemas.microsoft.com/office/drawing/2014/main" id="{97F79C0B-6974-40DF-BC97-8EA0313E96D5}"/>
              </a:ext>
            </a:extLst>
          </p:cNvPr>
          <p:cNvSpPr txBox="1"/>
          <p:nvPr/>
        </p:nvSpPr>
        <p:spPr>
          <a:xfrm>
            <a:off x="5020463" y="4462913"/>
            <a:ext cx="262987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400" b="1" kern="1200">
                <a:latin typeface="Atlas Grotesk Light" pitchFamily="2" charset="77"/>
              </a:rPr>
              <a:t>Leadership</a:t>
            </a:r>
          </a:p>
          <a:p>
            <a:r>
              <a:rPr lang="en-US">
                <a:latin typeface="Atlas Grotesk Light" pitchFamily="2" charset="77"/>
              </a:rPr>
              <a:t>Fulfill your leadership potential in one of our internal departments.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272C4757-23FC-7920-C895-13CEA17CCEE2}"/>
              </a:ext>
            </a:extLst>
          </p:cNvPr>
          <p:cNvCxnSpPr/>
          <p:nvPr/>
        </p:nvCxnSpPr>
        <p:spPr>
          <a:xfrm>
            <a:off x="3948545" y="451882"/>
            <a:ext cx="0" cy="5954236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Grafik 49">
            <a:extLst>
              <a:ext uri="{FF2B5EF4-FFF2-40B4-BE49-F238E27FC236}">
                <a16:creationId xmlns:a16="http://schemas.microsoft.com/office/drawing/2014/main" id="{49166DC4-23CB-D973-2745-BB68E0BDF1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6847" y="6406118"/>
            <a:ext cx="3222461" cy="241791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B6CC4A09-8B64-8E72-86F0-D2088F143F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8762" y="1076276"/>
            <a:ext cx="1525726" cy="734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phic 4" descr="Users">
            <a:extLst>
              <a:ext uri="{FF2B5EF4-FFF2-40B4-BE49-F238E27FC236}">
                <a16:creationId xmlns:a16="http://schemas.microsoft.com/office/drawing/2014/main" id="{6294971A-8625-4090-B2B6-AE5CF126D390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10092" y="2995637"/>
            <a:ext cx="914400" cy="914400"/>
          </a:xfrm>
          <a:prstGeom prst="rect">
            <a:avLst/>
          </a:prstGeom>
        </p:spPr>
      </p:pic>
      <p:sp>
        <p:nvSpPr>
          <p:cNvPr id="3" name="TextBox 23">
            <a:extLst>
              <a:ext uri="{FF2B5EF4-FFF2-40B4-BE49-F238E27FC236}">
                <a16:creationId xmlns:a16="http://schemas.microsoft.com/office/drawing/2014/main" id="{435E2424-182F-78F6-34D2-76650AF0EDBB}"/>
              </a:ext>
            </a:extLst>
          </p:cNvPr>
          <p:cNvSpPr txBox="1"/>
          <p:nvPr/>
        </p:nvSpPr>
        <p:spPr>
          <a:xfrm>
            <a:off x="7052017" y="2644170"/>
            <a:ext cx="239247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de-AT" sz="2400" b="1">
                <a:latin typeface="Atlas Grotesk Light" pitchFamily="2" charset="77"/>
              </a:rPr>
              <a:t>Community</a:t>
            </a:r>
            <a:endParaRPr lang="de-AT" sz="2400" b="1" kern="1200">
              <a:latin typeface="Atlas Grotesk Light" pitchFamily="2" charset="77"/>
            </a:endParaRPr>
          </a:p>
          <a:p>
            <a:r>
              <a:rPr lang="en-US">
                <a:latin typeface="Atlas Grotesk Light" pitchFamily="2" charset="77"/>
              </a:rPr>
              <a:t>Join our family of like-minded and driven students and alumni.</a:t>
            </a:r>
          </a:p>
        </p:txBody>
      </p:sp>
    </p:spTree>
    <p:extLst>
      <p:ext uri="{BB962C8B-B14F-4D97-AF65-F5344CB8AC3E}">
        <p14:creationId xmlns:p14="http://schemas.microsoft.com/office/powerpoint/2010/main" val="2949142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3B152BBC-11A3-460D-E472-461DF1A7F014}"/>
              </a:ext>
            </a:extLst>
          </p:cNvPr>
          <p:cNvSpPr txBox="1">
            <a:spLocks/>
          </p:cNvSpPr>
          <p:nvPr/>
        </p:nvSpPr>
        <p:spPr>
          <a:xfrm>
            <a:off x="236847" y="3138141"/>
            <a:ext cx="3853317" cy="8207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>
                <a:latin typeface="Atlas Typewriter Medium" panose="02000000000000000000" pitchFamily="2" charset="77"/>
              </a:rPr>
              <a:t>OUR SPONSORS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571C3156-E1E6-28B0-791B-6039EFFAE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36346" y="1455006"/>
            <a:ext cx="3618603" cy="398219"/>
          </a:xfrm>
          <a:prstGeom prst="rect">
            <a:avLst/>
          </a:prstGeom>
        </p:spPr>
      </p:pic>
      <p:sp>
        <p:nvSpPr>
          <p:cNvPr id="46" name="Rechteck 45">
            <a:extLst>
              <a:ext uri="{FF2B5EF4-FFF2-40B4-BE49-F238E27FC236}">
                <a16:creationId xmlns:a16="http://schemas.microsoft.com/office/drawing/2014/main" id="{FA0EF444-7485-86E5-D522-40766DEBA915}"/>
              </a:ext>
            </a:extLst>
          </p:cNvPr>
          <p:cNvSpPr/>
          <p:nvPr/>
        </p:nvSpPr>
        <p:spPr>
          <a:xfrm>
            <a:off x="7538757" y="5707144"/>
            <a:ext cx="10038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i="1">
                <a:solidFill>
                  <a:srgbClr val="003480"/>
                </a:solidFill>
                <a:latin typeface="Trebuchet MS" panose="020B0703020202090204" pitchFamily="34" charset="0"/>
              </a:rPr>
              <a:t>EGERIA</a:t>
            </a:r>
            <a:endParaRPr lang="de-DE"/>
          </a:p>
        </p:txBody>
      </p:sp>
      <p:pic>
        <p:nvPicPr>
          <p:cNvPr id="47" name="Picture 2">
            <a:extLst>
              <a:ext uri="{FF2B5EF4-FFF2-40B4-BE49-F238E27FC236}">
                <a16:creationId xmlns:a16="http://schemas.microsoft.com/office/drawing/2014/main" id="{718858B0-EBD2-7B1A-9D32-E8D0E9C02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358" y="2480595"/>
            <a:ext cx="2146735" cy="466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272C4757-23FC-7920-C895-13CEA17CCEE2}"/>
              </a:ext>
            </a:extLst>
          </p:cNvPr>
          <p:cNvCxnSpPr/>
          <p:nvPr/>
        </p:nvCxnSpPr>
        <p:spPr>
          <a:xfrm>
            <a:off x="3948545" y="451882"/>
            <a:ext cx="0" cy="5954236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Grafik 49">
            <a:extLst>
              <a:ext uri="{FF2B5EF4-FFF2-40B4-BE49-F238E27FC236}">
                <a16:creationId xmlns:a16="http://schemas.microsoft.com/office/drawing/2014/main" id="{49166DC4-23CB-D973-2745-BB68E0BDF1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6847" y="6406118"/>
            <a:ext cx="3222461" cy="241791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9D0D0884-DF76-B8D0-C5D4-475DFC806F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33841" y="2757800"/>
            <a:ext cx="1378694" cy="1151820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9C9DC0ED-AA23-87B4-D322-CD657FC9DF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0334" y="4538107"/>
            <a:ext cx="2091120" cy="759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433CABF-FB95-1B5E-FABB-B54D53C27ED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-1157" t="26229" b="19552"/>
          <a:stretch/>
        </p:blipFill>
        <p:spPr>
          <a:xfrm>
            <a:off x="9646258" y="4539540"/>
            <a:ext cx="1528205" cy="62999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CF573CA-9A8C-9A57-9BC5-4B041363044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4312" r="517" b="27523"/>
          <a:stretch/>
        </p:blipFill>
        <p:spPr>
          <a:xfrm>
            <a:off x="8512783" y="484754"/>
            <a:ext cx="2442773" cy="66513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C9017BE-3EA4-926C-9588-0CF0E936BD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81083" y="1423231"/>
            <a:ext cx="2494436" cy="468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7CB4BE4-6FC4-37F1-2B51-09E94FDBE33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300183" y="3491355"/>
            <a:ext cx="2158315" cy="25240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0FE3CCD-5FB7-5A06-93EA-DDD111E283E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66904" y="2155402"/>
            <a:ext cx="2921007" cy="759462"/>
          </a:xfrm>
          <a:prstGeom prst="rect">
            <a:avLst/>
          </a:prstGeom>
        </p:spPr>
      </p:pic>
      <p:pic>
        <p:nvPicPr>
          <p:cNvPr id="14" name="Grafik 13" descr="Ein Bild, das Logo enthält.&#10;&#10;Automatisch generierte Beschreibung">
            <a:extLst>
              <a:ext uri="{FF2B5EF4-FFF2-40B4-BE49-F238E27FC236}">
                <a16:creationId xmlns:a16="http://schemas.microsoft.com/office/drawing/2014/main" id="{ACA399F4-847D-6897-56E1-63FD84ED245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11860" y="548254"/>
            <a:ext cx="2914655" cy="599447"/>
          </a:xfrm>
          <a:prstGeom prst="rect">
            <a:avLst/>
          </a:prstGeom>
        </p:spPr>
      </p:pic>
      <p:pic>
        <p:nvPicPr>
          <p:cNvPr id="1028" name="Picture 4" descr="Investment in Cinven 7 Fund - News - KOEHLER.GROUP">
            <a:extLst>
              <a:ext uri="{FF2B5EF4-FFF2-40B4-BE49-F238E27FC236}">
                <a16:creationId xmlns:a16="http://schemas.microsoft.com/office/drawing/2014/main" id="{6DCDB966-B7BC-AEAF-3756-1052659E7C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13" r="904" b="28916"/>
          <a:stretch/>
        </p:blipFill>
        <p:spPr bwMode="auto">
          <a:xfrm>
            <a:off x="9370033" y="5437269"/>
            <a:ext cx="2086692" cy="900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Eurazeo – Wikipedia">
            <a:extLst>
              <a:ext uri="{FF2B5EF4-FFF2-40B4-BE49-F238E27FC236}">
                <a16:creationId xmlns:a16="http://schemas.microsoft.com/office/drawing/2014/main" id="{30A1B01C-20D3-3F92-37B1-6D9AC76A2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0999" y="4331596"/>
            <a:ext cx="1641398" cy="917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EAAC67F-F616-E5A6-8597-0CDF17AD1BFC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12137" t="19031" r="11231" b="20017"/>
          <a:stretch/>
        </p:blipFill>
        <p:spPr>
          <a:xfrm>
            <a:off x="4437089" y="5707652"/>
            <a:ext cx="2252597" cy="365374"/>
          </a:xfrm>
          <a:prstGeom prst="rect">
            <a:avLst/>
          </a:prstGeom>
        </p:spPr>
      </p:pic>
      <p:pic>
        <p:nvPicPr>
          <p:cNvPr id="2" name="Grafik 3" descr="Ein Bild, das Logo enthält.&#10;&#10;Beschreibung automatisch generiert.">
            <a:extLst>
              <a:ext uri="{FF2B5EF4-FFF2-40B4-BE49-F238E27FC236}">
                <a16:creationId xmlns:a16="http://schemas.microsoft.com/office/drawing/2014/main" id="{0CEF422E-8D03-4563-21F7-B2AE29425579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t="6203" r="829" b="9160"/>
          <a:stretch/>
        </p:blipFill>
        <p:spPr>
          <a:xfrm>
            <a:off x="4782223" y="3031686"/>
            <a:ext cx="1902676" cy="1162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530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3B152BBC-11A3-460D-E472-461DF1A7F014}"/>
              </a:ext>
            </a:extLst>
          </p:cNvPr>
          <p:cNvSpPr txBox="1">
            <a:spLocks/>
          </p:cNvSpPr>
          <p:nvPr/>
        </p:nvSpPr>
        <p:spPr>
          <a:xfrm>
            <a:off x="236847" y="3138141"/>
            <a:ext cx="3853317" cy="8207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3200">
                <a:latin typeface="Atlas Typewriter Medium" panose="02000000000000000000" pitchFamily="2" charset="77"/>
              </a:rPr>
              <a:t>OUR COMMUNITY</a:t>
            </a:r>
            <a:r>
              <a:rPr lang="de-DE" sz="3200">
                <a:latin typeface="Atlas Typewriter Medium" panose="02000000000000000000" pitchFamily="2" charset="77"/>
              </a:rPr>
              <a:t> 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272C4757-23FC-7920-C895-13CEA17CCEE2}"/>
              </a:ext>
            </a:extLst>
          </p:cNvPr>
          <p:cNvCxnSpPr/>
          <p:nvPr/>
        </p:nvCxnSpPr>
        <p:spPr>
          <a:xfrm>
            <a:off x="3948545" y="451882"/>
            <a:ext cx="0" cy="5954236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Grafik 49">
            <a:extLst>
              <a:ext uri="{FF2B5EF4-FFF2-40B4-BE49-F238E27FC236}">
                <a16:creationId xmlns:a16="http://schemas.microsoft.com/office/drawing/2014/main" id="{49166DC4-23CB-D973-2745-BB68E0BDF1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847" y="6406118"/>
            <a:ext cx="3222461" cy="24179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9B31552-16FF-89C5-C557-89A9EFDEE1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96222" y="451882"/>
            <a:ext cx="2546434" cy="25464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3F9AE78-F1A7-5483-785A-B4C89E4535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30833" y="4104543"/>
            <a:ext cx="2211823" cy="221182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1E5F239-A332-B9E3-5B08-014F02C18A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4995" y="451881"/>
            <a:ext cx="2241997" cy="224199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9FDC29B-9A3B-4697-B5E7-9E1C43B073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34996" y="4060606"/>
            <a:ext cx="2345512" cy="2345512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7C05807-4B14-E5B6-ADAE-040D37BAD36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5005" b="16076"/>
          <a:stretch/>
        </p:blipFill>
        <p:spPr>
          <a:xfrm>
            <a:off x="5750371" y="2127520"/>
            <a:ext cx="4102981" cy="282636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4ACEA24-7670-3365-7AFC-2DB7294999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00815" y="4374258"/>
            <a:ext cx="2031860" cy="20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572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7F75C782-C41D-3702-CCFB-91B41A1A2D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90" r="902"/>
          <a:stretch/>
        </p:blipFill>
        <p:spPr>
          <a:xfrm>
            <a:off x="3948545" y="0"/>
            <a:ext cx="8243455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F3F46CB6-2F0F-83DF-0EE5-97466C61B343}"/>
              </a:ext>
            </a:extLst>
          </p:cNvPr>
          <p:cNvSpPr/>
          <p:nvPr/>
        </p:nvSpPr>
        <p:spPr>
          <a:xfrm>
            <a:off x="5253573" y="4385148"/>
            <a:ext cx="6334812" cy="75898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rgbClr val="0017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Student Initiatives Fair - Garching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67BFBA3-930E-FB0E-B8F0-56463FD15B71}"/>
              </a:ext>
            </a:extLst>
          </p:cNvPr>
          <p:cNvSpPr/>
          <p:nvPr/>
        </p:nvSpPr>
        <p:spPr>
          <a:xfrm>
            <a:off x="4649958" y="4525170"/>
            <a:ext cx="1187777" cy="49019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500">
                <a:solidFill>
                  <a:schemeClr val="tx1"/>
                </a:solidFill>
                <a:latin typeface="Atlas Grotesk Light" pitchFamily="2" charset="77"/>
              </a:rPr>
              <a:t>25.10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4504652-7FED-A7A3-D5A8-E8D4C6FC2AFD}"/>
              </a:ext>
            </a:extLst>
          </p:cNvPr>
          <p:cNvSpPr/>
          <p:nvPr/>
        </p:nvSpPr>
        <p:spPr>
          <a:xfrm>
            <a:off x="5253573" y="3449093"/>
            <a:ext cx="6334812" cy="75898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rgbClr val="0017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err="1">
                <a:solidFill>
                  <a:schemeClr val="tx1"/>
                </a:solidFill>
                <a:latin typeface="Atlas Grotesk Light" pitchFamily="2" charset="77"/>
              </a:rPr>
              <a:t>Introduction</a:t>
            </a:r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 </a:t>
            </a:r>
            <a:r>
              <a:rPr lang="de-DE" sz="1600" b="1" err="1">
                <a:solidFill>
                  <a:schemeClr val="tx1"/>
                </a:solidFill>
                <a:latin typeface="Atlas Grotesk Light" pitchFamily="2" charset="77"/>
              </a:rPr>
              <a:t>to</a:t>
            </a:r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 Spring </a:t>
            </a:r>
            <a:r>
              <a:rPr lang="de-DE" sz="1600" b="1" err="1">
                <a:solidFill>
                  <a:schemeClr val="tx1"/>
                </a:solidFill>
                <a:latin typeface="Atlas Grotesk Light" pitchFamily="2" charset="77"/>
              </a:rPr>
              <a:t>Weeks</a:t>
            </a:r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 (Online)</a:t>
            </a:r>
          </a:p>
          <a:p>
            <a:pPr algn="ctr"/>
            <a:r>
              <a:rPr lang="de-DE" sz="1400">
                <a:solidFill>
                  <a:schemeClr val="tx1"/>
                </a:solidFill>
                <a:latin typeface="Atlas Grotesk Light" pitchFamily="2" charset="77"/>
              </a:rPr>
              <a:t>Registration </a:t>
            </a:r>
            <a:r>
              <a:rPr lang="de-DE" sz="1400" err="1">
                <a:solidFill>
                  <a:schemeClr val="tx1"/>
                </a:solidFill>
                <a:latin typeface="Atlas Grotesk Light" pitchFamily="2" charset="77"/>
              </a:rPr>
              <a:t>through</a:t>
            </a:r>
            <a:r>
              <a:rPr lang="de-DE" sz="1400">
                <a:solidFill>
                  <a:schemeClr val="tx1"/>
                </a:solidFill>
                <a:latin typeface="Atlas Grotesk Light" pitchFamily="2" charset="77"/>
              </a:rPr>
              <a:t> </a:t>
            </a:r>
            <a:r>
              <a:rPr lang="de-DE" sz="1400" err="1">
                <a:solidFill>
                  <a:schemeClr val="tx1"/>
                </a:solidFill>
                <a:latin typeface="Atlas Grotesk Light" pitchFamily="2" charset="77"/>
              </a:rPr>
              <a:t>our</a:t>
            </a:r>
            <a:r>
              <a:rPr lang="de-DE" sz="1400">
                <a:solidFill>
                  <a:schemeClr val="tx1"/>
                </a:solidFill>
                <a:latin typeface="Atlas Grotesk Light" pitchFamily="2" charset="77"/>
              </a:rPr>
              <a:t> Website!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E56409E-4F6C-728A-25D9-28B2BC41EA92}"/>
              </a:ext>
            </a:extLst>
          </p:cNvPr>
          <p:cNvSpPr/>
          <p:nvPr/>
        </p:nvSpPr>
        <p:spPr>
          <a:xfrm>
            <a:off x="4649958" y="3594743"/>
            <a:ext cx="1187777" cy="49019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500">
                <a:solidFill>
                  <a:schemeClr val="tx1"/>
                </a:solidFill>
                <a:latin typeface="Atlas Grotesk Light" pitchFamily="2" charset="77"/>
              </a:rPr>
              <a:t>21.10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9A00D1E-F575-7C36-BFA2-33A308A4D6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6847" y="6406118"/>
            <a:ext cx="3222461" cy="241791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82A0C2B8-7E21-EE06-E786-8AE80775E8DD}"/>
              </a:ext>
            </a:extLst>
          </p:cNvPr>
          <p:cNvSpPr/>
          <p:nvPr/>
        </p:nvSpPr>
        <p:spPr>
          <a:xfrm>
            <a:off x="5253573" y="640928"/>
            <a:ext cx="6334812" cy="75898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rgbClr val="0017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Recruiting Start!</a:t>
            </a:r>
          </a:p>
          <a:p>
            <a:pPr algn="ctr"/>
            <a:r>
              <a:rPr lang="de-DE" sz="1400" err="1">
                <a:solidFill>
                  <a:schemeClr val="tx1"/>
                </a:solidFill>
                <a:latin typeface="Atlas Grotesk Light" pitchFamily="2" charset="77"/>
              </a:rPr>
              <a:t>Apply</a:t>
            </a:r>
            <a:r>
              <a:rPr lang="de-DE" sz="1400">
                <a:solidFill>
                  <a:schemeClr val="tx1"/>
                </a:solidFill>
                <a:latin typeface="Atlas Grotesk Light" pitchFamily="2" charset="77"/>
              </a:rPr>
              <a:t> </a:t>
            </a:r>
            <a:r>
              <a:rPr lang="de-DE" sz="1400" err="1">
                <a:solidFill>
                  <a:schemeClr val="tx1"/>
                </a:solidFill>
                <a:latin typeface="Atlas Grotesk Light" pitchFamily="2" charset="77"/>
              </a:rPr>
              <a:t>until</a:t>
            </a:r>
            <a:r>
              <a:rPr lang="de-DE" sz="1400">
                <a:solidFill>
                  <a:schemeClr val="tx1"/>
                </a:solidFill>
                <a:latin typeface="Atlas Grotesk Light" pitchFamily="2" charset="77"/>
              </a:rPr>
              <a:t> 03.11!!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6706005-DC22-6A68-D9BA-C2BE9DB946DE}"/>
              </a:ext>
            </a:extLst>
          </p:cNvPr>
          <p:cNvSpPr/>
          <p:nvPr/>
        </p:nvSpPr>
        <p:spPr>
          <a:xfrm>
            <a:off x="4649958" y="803462"/>
            <a:ext cx="1187777" cy="49019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500">
                <a:solidFill>
                  <a:schemeClr val="tx1"/>
                </a:solidFill>
                <a:latin typeface="Atlas Grotesk Light" pitchFamily="2" charset="77"/>
              </a:rPr>
              <a:t>16.10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0CED494-2BA0-3EB6-A111-41AE12A8D256}"/>
              </a:ext>
            </a:extLst>
          </p:cNvPr>
          <p:cNvSpPr txBox="1">
            <a:spLocks/>
          </p:cNvSpPr>
          <p:nvPr/>
        </p:nvSpPr>
        <p:spPr>
          <a:xfrm>
            <a:off x="236847" y="3138141"/>
            <a:ext cx="3853317" cy="8207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>
                <a:latin typeface="Atlas Typewriter Medium" panose="02000000000000000000" pitchFamily="2" charset="77"/>
              </a:rPr>
              <a:t>IMPORTANT DATES</a:t>
            </a:r>
          </a:p>
        </p:txBody>
      </p:sp>
      <p:sp>
        <p:nvSpPr>
          <p:cNvPr id="2" name="Rechteck 15">
            <a:extLst>
              <a:ext uri="{FF2B5EF4-FFF2-40B4-BE49-F238E27FC236}">
                <a16:creationId xmlns:a16="http://schemas.microsoft.com/office/drawing/2014/main" id="{BCB50E26-A63B-941F-3789-468454AB20C1}"/>
              </a:ext>
            </a:extLst>
          </p:cNvPr>
          <p:cNvSpPr/>
          <p:nvPr/>
        </p:nvSpPr>
        <p:spPr>
          <a:xfrm>
            <a:off x="5253573" y="1576983"/>
            <a:ext cx="6334812" cy="75898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rgbClr val="0017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Women in Finance Events</a:t>
            </a:r>
          </a:p>
          <a:p>
            <a:pPr algn="ctr"/>
            <a:r>
              <a:rPr lang="de-DE" sz="1400">
                <a:solidFill>
                  <a:schemeClr val="tx1"/>
                </a:solidFill>
                <a:latin typeface="Atlas Grotesk Light" pitchFamily="2" charset="77"/>
              </a:rPr>
              <a:t>Networking (18.10)/CV &amp; Interview Workshop (30.10)</a:t>
            </a:r>
          </a:p>
        </p:txBody>
      </p:sp>
      <p:sp>
        <p:nvSpPr>
          <p:cNvPr id="4" name="Rechteck 15">
            <a:extLst>
              <a:ext uri="{FF2B5EF4-FFF2-40B4-BE49-F238E27FC236}">
                <a16:creationId xmlns:a16="http://schemas.microsoft.com/office/drawing/2014/main" id="{FCD6DD96-25F4-1D78-D324-08552A4EE67C}"/>
              </a:ext>
            </a:extLst>
          </p:cNvPr>
          <p:cNvSpPr/>
          <p:nvPr/>
        </p:nvSpPr>
        <p:spPr>
          <a:xfrm>
            <a:off x="5253573" y="2513038"/>
            <a:ext cx="6334812" cy="75898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rgbClr val="0017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Info Sessions</a:t>
            </a:r>
          </a:p>
          <a:p>
            <a:pPr algn="ctr"/>
            <a:r>
              <a:rPr lang="de-DE" sz="1400">
                <a:solidFill>
                  <a:schemeClr val="tx1"/>
                </a:solidFill>
                <a:latin typeface="Atlas Grotesk Light" pitchFamily="2" charset="77"/>
              </a:rPr>
              <a:t>Online (19.10)/In-Person @TUM-1237 (24.10)</a:t>
            </a:r>
          </a:p>
        </p:txBody>
      </p:sp>
      <p:sp>
        <p:nvSpPr>
          <p:cNvPr id="9" name="Rechteck 21">
            <a:extLst>
              <a:ext uri="{FF2B5EF4-FFF2-40B4-BE49-F238E27FC236}">
                <a16:creationId xmlns:a16="http://schemas.microsoft.com/office/drawing/2014/main" id="{D4260402-F089-1B4A-8697-0D6986604900}"/>
              </a:ext>
            </a:extLst>
          </p:cNvPr>
          <p:cNvSpPr/>
          <p:nvPr/>
        </p:nvSpPr>
        <p:spPr>
          <a:xfrm>
            <a:off x="4649958" y="1733889"/>
            <a:ext cx="1187777" cy="49019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500">
                <a:solidFill>
                  <a:schemeClr val="tx1"/>
                </a:solidFill>
                <a:latin typeface="Atlas Grotesk Light" pitchFamily="2" charset="77"/>
              </a:rPr>
              <a:t>18.10/30.10</a:t>
            </a:r>
          </a:p>
        </p:txBody>
      </p:sp>
      <p:sp>
        <p:nvSpPr>
          <p:cNvPr id="10" name="Rechteck 21">
            <a:extLst>
              <a:ext uri="{FF2B5EF4-FFF2-40B4-BE49-F238E27FC236}">
                <a16:creationId xmlns:a16="http://schemas.microsoft.com/office/drawing/2014/main" id="{18B23422-A185-230D-E993-E0EB12B5FC5A}"/>
              </a:ext>
            </a:extLst>
          </p:cNvPr>
          <p:cNvSpPr/>
          <p:nvPr/>
        </p:nvSpPr>
        <p:spPr>
          <a:xfrm>
            <a:off x="4649958" y="2664316"/>
            <a:ext cx="1187777" cy="49019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500">
                <a:solidFill>
                  <a:schemeClr val="tx1"/>
                </a:solidFill>
                <a:latin typeface="Atlas Grotesk Light" pitchFamily="2" charset="77"/>
              </a:rPr>
              <a:t>19.10/24.10</a:t>
            </a:r>
          </a:p>
        </p:txBody>
      </p:sp>
      <p:sp>
        <p:nvSpPr>
          <p:cNvPr id="11" name="Rechteck 4">
            <a:extLst>
              <a:ext uri="{FF2B5EF4-FFF2-40B4-BE49-F238E27FC236}">
                <a16:creationId xmlns:a16="http://schemas.microsoft.com/office/drawing/2014/main" id="{F5DA32C3-0932-7C3C-3EAC-C28AE2571C54}"/>
              </a:ext>
            </a:extLst>
          </p:cNvPr>
          <p:cNvSpPr/>
          <p:nvPr/>
        </p:nvSpPr>
        <p:spPr>
          <a:xfrm>
            <a:off x="5253573" y="5321203"/>
            <a:ext cx="6334812" cy="75898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rgbClr val="0017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Bank </a:t>
            </a:r>
            <a:r>
              <a:rPr lang="de-DE" sz="1600" b="1" err="1">
                <a:solidFill>
                  <a:schemeClr val="tx1"/>
                </a:solidFill>
                <a:latin typeface="Atlas Grotesk Light" pitchFamily="2" charset="77"/>
              </a:rPr>
              <a:t>of</a:t>
            </a:r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 </a:t>
            </a:r>
            <a:r>
              <a:rPr lang="de-DE" sz="1600" b="1" err="1">
                <a:solidFill>
                  <a:schemeClr val="tx1"/>
                </a:solidFill>
                <a:latin typeface="Atlas Grotesk Light" pitchFamily="2" charset="77"/>
              </a:rPr>
              <a:t>America</a:t>
            </a:r>
            <a:r>
              <a:rPr lang="de-DE" sz="1600" b="1">
                <a:solidFill>
                  <a:schemeClr val="tx1"/>
                </a:solidFill>
                <a:latin typeface="Atlas Grotesk Light" pitchFamily="2" charset="77"/>
              </a:rPr>
              <a:t> Event </a:t>
            </a:r>
          </a:p>
          <a:p>
            <a:pPr algn="ctr"/>
            <a:r>
              <a:rPr lang="de-DE" sz="1400" err="1">
                <a:solidFill>
                  <a:schemeClr val="tx1"/>
                </a:solidFill>
                <a:latin typeface="Atlas Grotesk Light" pitchFamily="2" charset="77"/>
              </a:rPr>
              <a:t>Apply</a:t>
            </a:r>
            <a:r>
              <a:rPr lang="de-DE" sz="1400">
                <a:solidFill>
                  <a:schemeClr val="tx1"/>
                </a:solidFill>
                <a:latin typeface="Atlas Grotesk Light" pitchFamily="2" charset="77"/>
              </a:rPr>
              <a:t> </a:t>
            </a:r>
            <a:r>
              <a:rPr lang="de-DE" sz="1400" err="1">
                <a:solidFill>
                  <a:schemeClr val="tx1"/>
                </a:solidFill>
                <a:latin typeface="Atlas Grotesk Light" pitchFamily="2" charset="77"/>
              </a:rPr>
              <a:t>until</a:t>
            </a:r>
            <a:r>
              <a:rPr lang="de-DE" sz="1400">
                <a:solidFill>
                  <a:schemeClr val="tx1"/>
                </a:solidFill>
                <a:latin typeface="Atlas Grotesk Light" pitchFamily="2" charset="77"/>
              </a:rPr>
              <a:t> 18.10 – EOD! </a:t>
            </a:r>
          </a:p>
        </p:txBody>
      </p:sp>
      <p:sp>
        <p:nvSpPr>
          <p:cNvPr id="12" name="Rechteck 5">
            <a:extLst>
              <a:ext uri="{FF2B5EF4-FFF2-40B4-BE49-F238E27FC236}">
                <a16:creationId xmlns:a16="http://schemas.microsoft.com/office/drawing/2014/main" id="{64EC0308-B445-D1CC-851A-C14581F68901}"/>
              </a:ext>
            </a:extLst>
          </p:cNvPr>
          <p:cNvSpPr/>
          <p:nvPr/>
        </p:nvSpPr>
        <p:spPr>
          <a:xfrm>
            <a:off x="4649958" y="5455599"/>
            <a:ext cx="1187777" cy="49019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500">
                <a:solidFill>
                  <a:schemeClr val="tx1"/>
                </a:solidFill>
                <a:latin typeface="Atlas Grotesk Light" pitchFamily="2" charset="77"/>
              </a:rPr>
              <a:t>26.10</a:t>
            </a:r>
          </a:p>
        </p:txBody>
      </p:sp>
    </p:spTree>
    <p:extLst>
      <p:ext uri="{BB962C8B-B14F-4D97-AF65-F5344CB8AC3E}">
        <p14:creationId xmlns:p14="http://schemas.microsoft.com/office/powerpoint/2010/main" val="39861710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B2C386A5-352D-62E6-805C-0AA4FC3EC61F}"/>
              </a:ext>
            </a:extLst>
          </p:cNvPr>
          <p:cNvSpPr txBox="1"/>
          <p:nvPr/>
        </p:nvSpPr>
        <p:spPr>
          <a:xfrm>
            <a:off x="313419" y="474533"/>
            <a:ext cx="8106771" cy="4616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de-DE" sz="2400" b="1" err="1">
                <a:latin typeface="Atlas Grotesk Light"/>
              </a:rPr>
              <a:t>We</a:t>
            </a:r>
            <a:r>
              <a:rPr lang="de-DE" sz="2400" b="1">
                <a:latin typeface="Atlas Grotesk Light"/>
              </a:rPr>
              <a:t> </a:t>
            </a:r>
            <a:r>
              <a:rPr lang="de-DE" sz="2400" b="1" err="1">
                <a:latin typeface="Atlas Grotesk Light"/>
              </a:rPr>
              <a:t>look</a:t>
            </a:r>
            <a:r>
              <a:rPr lang="de-DE" sz="2400" b="1">
                <a:latin typeface="Atlas Grotesk Light"/>
              </a:rPr>
              <a:t> </a:t>
            </a:r>
            <a:r>
              <a:rPr lang="de-DE" sz="2400" b="1" err="1">
                <a:latin typeface="Atlas Grotesk Light"/>
              </a:rPr>
              <a:t>forward</a:t>
            </a:r>
            <a:r>
              <a:rPr lang="de-DE" sz="2400" b="1">
                <a:latin typeface="Atlas Grotesk Light"/>
              </a:rPr>
              <a:t> </a:t>
            </a:r>
            <a:r>
              <a:rPr lang="de-DE" sz="2400" b="1" err="1">
                <a:latin typeface="Atlas Grotesk Light"/>
              </a:rPr>
              <a:t>to</a:t>
            </a:r>
            <a:r>
              <a:rPr lang="de-DE" sz="2400" b="1">
                <a:latin typeface="Atlas Grotesk Light"/>
              </a:rPr>
              <a:t> </a:t>
            </a:r>
            <a:r>
              <a:rPr lang="de-DE" sz="2400" b="1" err="1">
                <a:latin typeface="Atlas Grotesk Light"/>
              </a:rPr>
              <a:t>connecting</a:t>
            </a:r>
            <a:r>
              <a:rPr lang="de-DE" sz="2400" b="1">
                <a:latin typeface="Atlas Grotesk Light"/>
              </a:rPr>
              <a:t> </a:t>
            </a:r>
            <a:r>
              <a:rPr lang="de-DE" sz="2400" b="1" err="1">
                <a:latin typeface="Atlas Grotesk Light"/>
              </a:rPr>
              <a:t>with</a:t>
            </a:r>
            <a:r>
              <a:rPr lang="de-DE" sz="2400" b="1">
                <a:latin typeface="Atlas Grotesk Light"/>
              </a:rPr>
              <a:t> </a:t>
            </a:r>
            <a:r>
              <a:rPr lang="de-DE" sz="2400" b="1" err="1">
                <a:latin typeface="Atlas Grotesk Light"/>
              </a:rPr>
              <a:t>you</a:t>
            </a:r>
            <a:r>
              <a:rPr lang="de-DE" sz="2400" b="1">
                <a:latin typeface="Atlas Grotesk Light"/>
              </a:rPr>
              <a:t> &amp; </a:t>
            </a:r>
            <a:r>
              <a:rPr lang="de-DE" sz="2400" b="1" err="1">
                <a:latin typeface="Atlas Grotesk Light"/>
              </a:rPr>
              <a:t>to</a:t>
            </a:r>
            <a:r>
              <a:rPr lang="de-DE" sz="2400" b="1">
                <a:latin typeface="Atlas Grotesk Light"/>
              </a:rPr>
              <a:t> </a:t>
            </a:r>
            <a:r>
              <a:rPr lang="de-DE" sz="2400" b="1" err="1">
                <a:latin typeface="Atlas Grotesk Light"/>
              </a:rPr>
              <a:t>your</a:t>
            </a:r>
            <a:r>
              <a:rPr lang="de-DE" sz="2400" b="1">
                <a:latin typeface="Atlas Grotesk Light"/>
              </a:rPr>
              <a:t> </a:t>
            </a:r>
            <a:r>
              <a:rPr lang="de-DE" sz="2400" b="1" err="1">
                <a:latin typeface="Atlas Grotesk Light"/>
              </a:rPr>
              <a:t>application</a:t>
            </a:r>
            <a:r>
              <a:rPr lang="de-DE" sz="2400" b="1">
                <a:latin typeface="Atlas Grotesk Light"/>
              </a:rPr>
              <a:t>!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926AC68-66E4-DEAA-FC4B-0CDC5CC41B2D}"/>
              </a:ext>
            </a:extLst>
          </p:cNvPr>
          <p:cNvSpPr txBox="1"/>
          <p:nvPr/>
        </p:nvSpPr>
        <p:spPr>
          <a:xfrm>
            <a:off x="7394488" y="1121202"/>
            <a:ext cx="35289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latin typeface="Atlas Grotesk Light" pitchFamily="2" charset="77"/>
              </a:rPr>
              <a:t>Follow </a:t>
            </a:r>
            <a:r>
              <a:rPr lang="de-DE" sz="2400" b="1" err="1">
                <a:latin typeface="Atlas Grotesk Light" pitchFamily="2" charset="77"/>
              </a:rPr>
              <a:t>us</a:t>
            </a:r>
            <a:r>
              <a:rPr lang="de-DE" sz="2400" b="1">
                <a:latin typeface="Atlas Grotesk Light" pitchFamily="2" charset="77"/>
              </a:rPr>
              <a:t> on social </a:t>
            </a:r>
            <a:r>
              <a:rPr lang="de-DE" sz="2400" b="1" err="1">
                <a:latin typeface="Atlas Grotesk Light" pitchFamily="2" charset="77"/>
              </a:rPr>
              <a:t>media</a:t>
            </a:r>
            <a:r>
              <a:rPr lang="de-DE" sz="2400" b="1">
                <a:latin typeface="Atlas Grotesk Light" pitchFamily="2" charset="77"/>
              </a:rPr>
              <a:t>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97A4726-A6A6-5E72-BD34-74B9AA092C42}"/>
              </a:ext>
            </a:extLst>
          </p:cNvPr>
          <p:cNvSpPr txBox="1"/>
          <p:nvPr/>
        </p:nvSpPr>
        <p:spPr>
          <a:xfrm>
            <a:off x="7394488" y="3273795"/>
            <a:ext cx="18774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err="1">
                <a:latin typeface="Atlas Grotesk Light" pitchFamily="2" charset="77"/>
              </a:rPr>
              <a:t>Apply</a:t>
            </a:r>
            <a:r>
              <a:rPr lang="de-DE" sz="2400" b="1">
                <a:latin typeface="Atlas Grotesk Light" pitchFamily="2" charset="77"/>
              </a:rPr>
              <a:t> online:</a:t>
            </a:r>
          </a:p>
        </p:txBody>
      </p:sp>
      <p:pic>
        <p:nvPicPr>
          <p:cNvPr id="7" name="Picture 22" descr="Instagram Logo transparent PNG - StickPNG">
            <a:extLst>
              <a:ext uri="{FF2B5EF4-FFF2-40B4-BE49-F238E27FC236}">
                <a16:creationId xmlns:a16="http://schemas.microsoft.com/office/drawing/2014/main" id="{A2AFC713-8A70-3025-72B2-60C41E03E8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4094" y="1767871"/>
            <a:ext cx="523219" cy="523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6" descr="Linkedin Icon Square transparent PNG - StickPNG">
            <a:extLst>
              <a:ext uri="{FF2B5EF4-FFF2-40B4-BE49-F238E27FC236}">
                <a16:creationId xmlns:a16="http://schemas.microsoft.com/office/drawing/2014/main" id="{D40E20AA-5FFB-5946-6F7C-C2BD002E43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9479" y="2429019"/>
            <a:ext cx="452447" cy="45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FA8C078-EEA4-AC38-4707-175FB24CC107}"/>
              </a:ext>
            </a:extLst>
          </p:cNvPr>
          <p:cNvSpPr txBox="1"/>
          <p:nvPr/>
        </p:nvSpPr>
        <p:spPr>
          <a:xfrm>
            <a:off x="8058945" y="1820779"/>
            <a:ext cx="23675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>
                <a:solidFill>
                  <a:srgbClr val="00171D"/>
                </a:solidFill>
                <a:latin typeface="Atlas Grotesk Light" pitchFamily="2" charset="77"/>
              </a:rPr>
              <a:t>@tuinvestmentclub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B105842-072A-0387-853C-6E9B335B32EB}"/>
              </a:ext>
            </a:extLst>
          </p:cNvPr>
          <p:cNvSpPr txBox="1"/>
          <p:nvPr/>
        </p:nvSpPr>
        <p:spPr>
          <a:xfrm>
            <a:off x="8058945" y="2480742"/>
            <a:ext cx="28135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>
                <a:solidFill>
                  <a:srgbClr val="00171D"/>
                </a:solidFill>
                <a:latin typeface="Atlas Grotesk Light" pitchFamily="2" charset="77"/>
              </a:rPr>
              <a:t>@TU Investment Club e.V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14F13D7-33AA-22E2-156E-9C7911EB98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847" y="6406118"/>
            <a:ext cx="3222461" cy="24179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753C8EE4-7F51-494F-057D-88DA19F37C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4488" y="3869821"/>
            <a:ext cx="2141465" cy="214146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99DAAC9-8B0C-8DA0-5C88-AE6CE5A475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3419" y="1632669"/>
            <a:ext cx="6607210" cy="3468785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83AEFEAB-9AE8-12A5-37E3-6A26A17016A5}"/>
              </a:ext>
            </a:extLst>
          </p:cNvPr>
          <p:cNvSpPr txBox="1"/>
          <p:nvPr/>
        </p:nvSpPr>
        <p:spPr>
          <a:xfrm>
            <a:off x="313419" y="5440166"/>
            <a:ext cx="660721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de-DE" sz="2400" b="1" err="1">
                <a:latin typeface="Atlas Grotesk Light"/>
              </a:rPr>
              <a:t>Application</a:t>
            </a:r>
            <a:r>
              <a:rPr lang="de-DE" sz="2400" b="1">
                <a:latin typeface="Atlas Grotesk Light"/>
              </a:rPr>
              <a:t> Deadline: 03.11.2023 – 12pm  </a:t>
            </a:r>
          </a:p>
        </p:txBody>
      </p:sp>
    </p:spTree>
    <p:extLst>
      <p:ext uri="{BB962C8B-B14F-4D97-AF65-F5344CB8AC3E}">
        <p14:creationId xmlns:p14="http://schemas.microsoft.com/office/powerpoint/2010/main" val="39312039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FB17124-109A-477D-9BBB-04C6D2BAAC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892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B17124-109A-477D-9BBB-04C6D2BAAC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ADE8F76A-7618-D96A-8B71-85CBCCF034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5912" y="2016206"/>
            <a:ext cx="6480175" cy="1384218"/>
          </a:xfrm>
        </p:spPr>
        <p:txBody>
          <a:bodyPr vert="horz">
            <a:normAutofit/>
          </a:bodyPr>
          <a:lstStyle/>
          <a:p>
            <a:r>
              <a:rPr lang="de-DE">
                <a:latin typeface="Atlas Typewriter Medium" panose="02000000000000000000" pitchFamily="2" charset="77"/>
              </a:rPr>
              <a:t>THANK YOU</a:t>
            </a:r>
            <a:endParaRPr lang="en-US" sz="2800" b="1">
              <a:latin typeface="Atlas Typewriter Medium" panose="02000000000000000000" pitchFamily="2" charset="77"/>
            </a:endParaRPr>
          </a:p>
        </p:txBody>
      </p:sp>
      <p:cxnSp>
        <p:nvCxnSpPr>
          <p:cNvPr id="4" name="Gerade Verbindung 10">
            <a:extLst>
              <a:ext uri="{FF2B5EF4-FFF2-40B4-BE49-F238E27FC236}">
                <a16:creationId xmlns:a16="http://schemas.microsoft.com/office/drawing/2014/main" id="{4DB6F726-5FCD-0AB4-1059-05204644D286}"/>
              </a:ext>
            </a:extLst>
          </p:cNvPr>
          <p:cNvCxnSpPr/>
          <p:nvPr/>
        </p:nvCxnSpPr>
        <p:spPr>
          <a:xfrm>
            <a:off x="2974176" y="3400425"/>
            <a:ext cx="624363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7205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56,1,Slide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c6d0b59-51b6-4a98-8eb2-746b29ab251c">
      <Terms xmlns="http://schemas.microsoft.com/office/infopath/2007/PartnerControls"/>
    </lcf76f155ced4ddcb4097134ff3c332f>
    <TaxCatchAll xmlns="6afa84ff-d718-41ef-b2dc-f603678c01c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0193D32C65324089DF2E3F84A209C9" ma:contentTypeVersion="14" ma:contentTypeDescription="Ein neues Dokument erstellen." ma:contentTypeScope="" ma:versionID="d3a47244554be43dc8d70212f63bd368">
  <xsd:schema xmlns:xsd="http://www.w3.org/2001/XMLSchema" xmlns:xs="http://www.w3.org/2001/XMLSchema" xmlns:p="http://schemas.microsoft.com/office/2006/metadata/properties" xmlns:ns2="dc6d0b59-51b6-4a98-8eb2-746b29ab251c" xmlns:ns3="6afa84ff-d718-41ef-b2dc-f603678c01cc" targetNamespace="http://schemas.microsoft.com/office/2006/metadata/properties" ma:root="true" ma:fieldsID="6807ee7850557eff20998b74ea0e2b5d" ns2:_="" ns3:_="">
    <xsd:import namespace="dc6d0b59-51b6-4a98-8eb2-746b29ab251c"/>
    <xsd:import namespace="6afa84ff-d718-41ef-b2dc-f603678c01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6d0b59-51b6-4a98-8eb2-746b29ab25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b1461945-435a-4741-8ec6-75c9dfe215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fa84ff-d718-41ef-b2dc-f603678c01cc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02598b1d-66a2-4a07-b9d4-4c74ca94f7c2}" ma:internalName="TaxCatchAll" ma:showField="CatchAllData" ma:web="6afa84ff-d718-41ef-b2dc-f603678c01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01414A-9331-41ED-8347-D2029CF09AF5}">
  <ds:schemaRefs>
    <ds:schemaRef ds:uri="6afa84ff-d718-41ef-b2dc-f603678c01cc"/>
    <ds:schemaRef ds:uri="dc6d0b59-51b6-4a98-8eb2-746b29ab251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A593CDF-C7F4-4309-8E37-773C74C8E4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88AE938-9DA8-4BBF-A72D-BDF37A745981}">
  <ds:schemaRefs>
    <ds:schemaRef ds:uri="6afa84ff-d718-41ef-b2dc-f603678c01cc"/>
    <ds:schemaRef ds:uri="dc6d0b59-51b6-4a98-8eb2-746b29ab251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7</Slides>
  <Notes>1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Office</vt:lpstr>
      <vt:lpstr>Benutzerdefiniertes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64tep</dc:creator>
  <cp:revision>1</cp:revision>
  <dcterms:created xsi:type="dcterms:W3CDTF">2022-04-23T16:02:43Z</dcterms:created>
  <dcterms:modified xsi:type="dcterms:W3CDTF">2023-10-17T08:3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0193D32C65324089DF2E3F84A209C9</vt:lpwstr>
  </property>
</Properties>
</file>